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30"/>
  </p:notesMasterIdLst>
  <p:handoutMasterIdLst>
    <p:handoutMasterId r:id="rId31"/>
  </p:handoutMasterIdLst>
  <p:sldIdLst>
    <p:sldId id="321" r:id="rId4"/>
    <p:sldId id="330" r:id="rId5"/>
    <p:sldId id="290" r:id="rId6"/>
    <p:sldId id="2145705975" r:id="rId7"/>
    <p:sldId id="2145705983" r:id="rId8"/>
    <p:sldId id="2145705976" r:id="rId9"/>
    <p:sldId id="2145705977" r:id="rId10"/>
    <p:sldId id="2145705978" r:id="rId11"/>
    <p:sldId id="2145705980" r:id="rId12"/>
    <p:sldId id="2145705981" r:id="rId13"/>
    <p:sldId id="2145705982" r:id="rId14"/>
    <p:sldId id="2145705979" r:id="rId15"/>
    <p:sldId id="2145705984" r:id="rId16"/>
    <p:sldId id="2145705985" r:id="rId17"/>
    <p:sldId id="2145705986" r:id="rId18"/>
    <p:sldId id="2145705987" r:id="rId19"/>
    <p:sldId id="2145705988" r:id="rId20"/>
    <p:sldId id="2145705989" r:id="rId21"/>
    <p:sldId id="2145705990" r:id="rId22"/>
    <p:sldId id="2145705991" r:id="rId23"/>
    <p:sldId id="2145705992" r:id="rId24"/>
    <p:sldId id="2145705993" r:id="rId25"/>
    <p:sldId id="2145705994" r:id="rId26"/>
    <p:sldId id="2145705995" r:id="rId27"/>
    <p:sldId id="2145705974" r:id="rId28"/>
    <p:sldId id="2145705823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2145705975"/>
            <p14:sldId id="2145705983"/>
            <p14:sldId id="2145705976"/>
            <p14:sldId id="2145705977"/>
            <p14:sldId id="2145705978"/>
            <p14:sldId id="2145705980"/>
            <p14:sldId id="2145705981"/>
            <p14:sldId id="2145705982"/>
            <p14:sldId id="2145705979"/>
            <p14:sldId id="2145705984"/>
            <p14:sldId id="2145705985"/>
            <p14:sldId id="2145705986"/>
            <p14:sldId id="2145705987"/>
            <p14:sldId id="2145705988"/>
            <p14:sldId id="2145705989"/>
            <p14:sldId id="2145705990"/>
            <p14:sldId id="2145705991"/>
            <p14:sldId id="2145705992"/>
            <p14:sldId id="2145705993"/>
            <p14:sldId id="2145705994"/>
            <p14:sldId id="2145705995"/>
            <p14:sldId id="2145705974"/>
            <p14:sldId id="2145705823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187" autoAdjust="0"/>
  </p:normalViewPr>
  <p:slideViewPr>
    <p:cSldViewPr snapToGrid="0" snapToObjects="1" showGuides="1">
      <p:cViewPr varScale="1">
        <p:scale>
          <a:sx n="78" d="100"/>
          <a:sy n="78" d="100"/>
        </p:scale>
        <p:origin x="878" y="5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4AD6B1-1D5D-E2E2-4800-4EF38F89F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891AF2B-A0D8-6E75-78C4-970FD892B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Room</a:t>
            </a:r>
            <a:r>
              <a:rPr lang="vi-VN" dirty="0"/>
              <a:t> 4 : Ly </a:t>
            </a:r>
            <a:r>
              <a:rPr lang="vi-VN" dirty="0" err="1"/>
              <a:t>dynasty</a:t>
            </a:r>
            <a:r>
              <a:rPr lang="vi-VN" dirty="0"/>
              <a:t> (1009 – 1225)</a:t>
            </a: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3DBD072C-A2CC-31A9-AC80-D09CB8F44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34862" y="1652588"/>
            <a:ext cx="3493293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19FF14A1-060C-A63F-56C2-1991C2238D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34862" y="1652588"/>
            <a:ext cx="3493293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482D734-842D-57C1-DA63-CA525ED8B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3174" y="1652587"/>
            <a:ext cx="6210301" cy="465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37651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3939A5-0371-19E5-E831-FC7D2A219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529532F-BA6B-9448-EEE7-985A292AA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Tran – Ho </a:t>
            </a:r>
            <a:r>
              <a:rPr lang="vi-VN" dirty="0" err="1"/>
              <a:t>dynasties</a:t>
            </a:r>
            <a:r>
              <a:rPr lang="vi-VN" dirty="0"/>
              <a:t> (1226-1407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5AB0A7-3B73-2734-4C59-FB5C6D06A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299" y="1703867"/>
            <a:ext cx="4929962" cy="3697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D72848A-1D7E-D9C5-2E4D-6314CD761C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299" y="1703867"/>
            <a:ext cx="4929962" cy="36974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C78FF9B-53A0-AC34-1A84-F95EDDA099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238" y="1703867"/>
            <a:ext cx="4739465" cy="3687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65467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28AE2-B48E-527F-40C8-1F0C18B59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52DD223-F79C-EBCA-478B-DF7378782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Later</a:t>
            </a:r>
            <a:r>
              <a:rPr lang="vi-VN" dirty="0"/>
              <a:t> Le – </a:t>
            </a:r>
            <a:r>
              <a:rPr lang="vi-VN" dirty="0" err="1"/>
              <a:t>Mac</a:t>
            </a:r>
            <a:r>
              <a:rPr lang="vi-VN" dirty="0"/>
              <a:t> – </a:t>
            </a:r>
            <a:r>
              <a:rPr lang="vi-VN" dirty="0" err="1"/>
              <a:t>Later</a:t>
            </a:r>
            <a:r>
              <a:rPr lang="vi-VN" dirty="0"/>
              <a:t> Le </a:t>
            </a:r>
            <a:r>
              <a:rPr lang="vi-VN" dirty="0" err="1"/>
              <a:t>restoration</a:t>
            </a:r>
            <a:r>
              <a:rPr lang="vi-VN" dirty="0"/>
              <a:t> </a:t>
            </a:r>
            <a:r>
              <a:rPr lang="vi-VN" dirty="0" err="1"/>
              <a:t>dynasties</a:t>
            </a:r>
            <a:r>
              <a:rPr lang="vi-VN" dirty="0"/>
              <a:t> (1428-1788)</a:t>
            </a: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60B10001-8D74-050B-D7C9-DEE6D1BF6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38592" y="1608229"/>
            <a:ext cx="5525313" cy="4143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BAE32216-630A-6922-A851-C022268FC6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038592" y="1608229"/>
            <a:ext cx="5525313" cy="4143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E328778-6863-9EF3-BF7D-8B350580BA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7621" y="1608229"/>
            <a:ext cx="3106081" cy="414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057046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0C6EC3-9C3C-EC55-EDDF-3D09C422A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D8F41F9-08FD-6C90-4ECC-F26302F7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Tay Son </a:t>
            </a:r>
            <a:r>
              <a:rPr lang="vi-VN" dirty="0" err="1"/>
              <a:t>dynasties</a:t>
            </a:r>
            <a:r>
              <a:rPr lang="vi-VN" dirty="0"/>
              <a:t> ( 1771 – 1802 )</a:t>
            </a: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7F52F944-2770-F201-29EF-4286580CE1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64239" y="1762309"/>
            <a:ext cx="5291470" cy="3968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80C0AD7F-619C-C74F-AE3B-61C6612AB6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64239" y="1762309"/>
            <a:ext cx="5291470" cy="3968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018B6D1-F893-51D5-6349-AA30E79169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6291" y="1762309"/>
            <a:ext cx="5291470" cy="396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08430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5CB52-4C93-3B45-BD75-9C88FECEB1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E25A38A-5006-2F72-040D-E771BDB84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Nguyen</a:t>
            </a:r>
            <a:r>
              <a:rPr lang="vi-VN" dirty="0"/>
              <a:t> </a:t>
            </a:r>
            <a:r>
              <a:rPr lang="vi-VN" dirty="0" err="1"/>
              <a:t>dynasty</a:t>
            </a:r>
            <a:r>
              <a:rPr lang="vi-VN" dirty="0"/>
              <a:t> ( 1802 -1945 )</a:t>
            </a: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3C2237B7-E985-27D3-F811-D5333017C1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90314" y="1533709"/>
            <a:ext cx="3493293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EF82B4A-7BE2-31A9-528A-93742E0B70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4224" y="1533709"/>
            <a:ext cx="3493294" cy="46577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6115AAE-5739-4091-864C-7AF4FC809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4224" y="1533709"/>
            <a:ext cx="3493294" cy="46577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C5DC75B-2607-BD03-A88F-768AE0AB7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98136" y="1533708"/>
            <a:ext cx="3303550" cy="465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9254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5601E0-5DF8-6BE7-464F-FB463C6189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0E86E3D-0CC6-684E-D2BF-AA33A71DE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hampa</a:t>
            </a:r>
            <a:r>
              <a:rPr lang="vi-VN" dirty="0"/>
              <a:t> </a:t>
            </a:r>
            <a:r>
              <a:rPr lang="vi-VN" dirty="0" err="1"/>
              <a:t>Culture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4929B01E-EC75-1B45-324B-F12C110D8C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013681" y="1639324"/>
            <a:ext cx="3493293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7F769E62-C3F9-591B-130D-F2B57C27D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013681" y="1639324"/>
            <a:ext cx="3493293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4A1D86-9714-FB8E-5ADA-07CBCFEEB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5026" y="1652590"/>
            <a:ext cx="3493293" cy="465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688899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91AD0-273A-813D-E61C-5D4CEA4334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9BBAAC8-1EE0-D817-FAFE-5540F0445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Oc</a:t>
            </a:r>
            <a:r>
              <a:rPr lang="vi-VN" dirty="0"/>
              <a:t> Eo </a:t>
            </a:r>
            <a:r>
              <a:rPr lang="vi-VN" dirty="0" err="1"/>
              <a:t>Culture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B0E2F9-530A-BFAA-D1E2-1101F95810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7453" y="1318437"/>
            <a:ext cx="3857168" cy="51428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743937-9DAA-3C60-299F-CC285D24FA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7453" y="1318437"/>
            <a:ext cx="3857168" cy="51428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E237D5A-9247-383C-744F-19353C66A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7379" y="1318436"/>
            <a:ext cx="3857168" cy="51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625106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C3829-AE3F-EC5D-235F-CD321234C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8E9BABF-BD90-03A7-085A-03025BB65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ambodian</a:t>
            </a:r>
            <a:r>
              <a:rPr lang="vi-VN" dirty="0"/>
              <a:t> </a:t>
            </a:r>
            <a:r>
              <a:rPr lang="vi-VN" dirty="0" err="1"/>
              <a:t>stone</a:t>
            </a:r>
            <a:r>
              <a:rPr lang="vi-VN" dirty="0"/>
              <a:t> </a:t>
            </a:r>
            <a:r>
              <a:rPr lang="vi-VN" dirty="0" err="1"/>
              <a:t>carvings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FBFD04-0506-7B8B-BC9F-67B282D957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035" y="1234625"/>
            <a:ext cx="5208877" cy="51814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8D8DB4-CC5B-D613-F2C6-FDDACAD070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3182" y="1504638"/>
            <a:ext cx="3402960" cy="45895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21E8788-43FA-49D7-8A8F-F50F917620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3148" y="2102044"/>
            <a:ext cx="4660817" cy="305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450019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802ECB-6D30-C3EA-4272-6A8EB32B0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8769CE-8CA1-E3FD-F21B-3CB6F939C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Duong</a:t>
            </a:r>
            <a:r>
              <a:rPr lang="vi-VN" dirty="0"/>
              <a:t> Ha </a:t>
            </a:r>
            <a:r>
              <a:rPr lang="vi-VN" dirty="0" err="1"/>
              <a:t>collection</a:t>
            </a:r>
            <a:endParaRPr lang="vi-V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9781BD-F1D8-3EF4-019B-799445730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4844" y="1124533"/>
            <a:ext cx="6130739" cy="5143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5D60A6B-3FB0-E326-CEB6-5744DDF45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62" y="1521069"/>
            <a:ext cx="2867425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70007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CAF56-C8C1-97AF-F56B-5C3420DDD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0090B9F-F2F8-0C61-7F82-310497DD9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Asian</a:t>
            </a:r>
            <a:r>
              <a:rPr lang="vi-VN" dirty="0"/>
              <a:t> </a:t>
            </a:r>
            <a:r>
              <a:rPr lang="vi-VN" dirty="0" err="1"/>
              <a:t>ceramics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BD83F4-2F1B-C36B-3BAC-C26D6DE93F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225" y="1876208"/>
            <a:ext cx="3610479" cy="31055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07A2C7-C008-793D-0734-FBCC521EB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4076" y="1919077"/>
            <a:ext cx="3743847" cy="301984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BFD3ACA-138D-D5EE-62D3-6A47ED1267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9401" y="1933366"/>
            <a:ext cx="4115374" cy="3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47604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vi-VN" dirty="0"/>
              <a:t>25/8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DA6F57-79E9-75AC-B013-1966EB54E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625F1E6-FFCD-E2A1-D0AD-EBF8E7985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The </a:t>
            </a:r>
            <a:r>
              <a:rPr lang="vi-VN" dirty="0" err="1"/>
              <a:t>mummified</a:t>
            </a:r>
            <a:r>
              <a:rPr lang="vi-VN" dirty="0"/>
              <a:t> </a:t>
            </a:r>
            <a:r>
              <a:rPr lang="vi-VN" dirty="0" err="1"/>
              <a:t>body</a:t>
            </a:r>
            <a:r>
              <a:rPr lang="vi-VN" dirty="0"/>
              <a:t> </a:t>
            </a:r>
            <a:r>
              <a:rPr lang="vi-VN" dirty="0" err="1"/>
              <a:t>of</a:t>
            </a:r>
            <a:r>
              <a:rPr lang="vi-VN" dirty="0"/>
              <a:t> Xom Ca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BF71D82-BAFB-39E3-DA69-65BADEA3C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926" y="1163025"/>
            <a:ext cx="8254554" cy="532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53768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B3F043-C481-3114-F492-E91B57FDAE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E7C91B-2D4B-5E3F-0EE8-A6B6A3338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Vuong</a:t>
            </a:r>
            <a:r>
              <a:rPr lang="vi-VN" dirty="0"/>
              <a:t> </a:t>
            </a:r>
            <a:r>
              <a:rPr lang="vi-VN" dirty="0" err="1"/>
              <a:t>Hong</a:t>
            </a:r>
            <a:r>
              <a:rPr lang="vi-VN" dirty="0"/>
              <a:t> Sen </a:t>
            </a:r>
            <a:r>
              <a:rPr lang="vi-VN" dirty="0" err="1"/>
              <a:t>collection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AA8D49-A6A5-EC48-FF56-914A4D34A4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758" y="1653117"/>
            <a:ext cx="4515480" cy="43916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A724180-BE09-6296-690A-766F9D526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2319639"/>
            <a:ext cx="4496427" cy="3600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08757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DFF51-9A18-D948-4B6F-CA69091E94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4E60CC-9F00-6A7E-B2ED-3449DA016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Minority</a:t>
            </a:r>
            <a:r>
              <a:rPr lang="vi-VN" dirty="0"/>
              <a:t> </a:t>
            </a:r>
            <a:r>
              <a:rPr lang="vi-VN" dirty="0" err="1"/>
              <a:t>culture</a:t>
            </a:r>
            <a:r>
              <a:rPr lang="vi-VN" dirty="0"/>
              <a:t> </a:t>
            </a:r>
            <a:r>
              <a:rPr lang="vi-VN" dirty="0" err="1"/>
              <a:t>from</a:t>
            </a:r>
            <a:r>
              <a:rPr lang="vi-VN" dirty="0"/>
              <a:t> </a:t>
            </a:r>
            <a:r>
              <a:rPr lang="vi-VN" dirty="0" err="1"/>
              <a:t>Southern</a:t>
            </a:r>
            <a:r>
              <a:rPr lang="vi-VN" dirty="0"/>
              <a:t> </a:t>
            </a:r>
            <a:r>
              <a:rPr lang="vi-VN" dirty="0" err="1"/>
              <a:t>provinces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49690DBF-A03C-C98B-8DA2-9522698AFB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70544" y="1754372"/>
            <a:ext cx="5415516" cy="406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038088E-B953-E1FE-E78B-B41000973E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5943" y="1754373"/>
            <a:ext cx="5415514" cy="406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47775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A745D-6C60-01A7-4E20-A79BF5B32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2734FB7-A9C1-4081-2229-89429CBBB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Buddhist</a:t>
            </a:r>
            <a:r>
              <a:rPr lang="vi-VN" dirty="0"/>
              <a:t> </a:t>
            </a:r>
            <a:r>
              <a:rPr lang="vi-VN" dirty="0" err="1"/>
              <a:t>culture</a:t>
            </a:r>
            <a:r>
              <a:rPr lang="vi-VN" dirty="0"/>
              <a:t> </a:t>
            </a:r>
            <a:r>
              <a:rPr lang="vi-VN" dirty="0" err="1"/>
              <a:t>from</a:t>
            </a:r>
            <a:r>
              <a:rPr lang="vi-VN" dirty="0"/>
              <a:t> </a:t>
            </a:r>
            <a:r>
              <a:rPr lang="vi-VN" dirty="0" err="1"/>
              <a:t>Southern</a:t>
            </a:r>
            <a:r>
              <a:rPr lang="vi-VN" dirty="0"/>
              <a:t> </a:t>
            </a:r>
            <a:r>
              <a:rPr lang="vi-VN" dirty="0" err="1"/>
              <a:t>provinces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0D6EF872-D9F5-C269-BDD7-22E9B16338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93749" y="1578160"/>
            <a:ext cx="2801358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DB3B73D-625A-99A5-7C00-D73C96A44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2883" y="1578160"/>
            <a:ext cx="6969134" cy="465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E570773-CEC2-6519-D3F5-D81D00A1A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4189" y="1568482"/>
            <a:ext cx="4134193" cy="498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8118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563BC-5ADE-611E-92DC-76F702F3F0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B1D055E-E76A-8CE2-7D6C-4EEECBC20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Outdoor</a:t>
            </a:r>
            <a:r>
              <a:rPr lang="vi-VN" dirty="0"/>
              <a:t> </a:t>
            </a:r>
            <a:r>
              <a:rPr lang="vi-VN" dirty="0" err="1"/>
              <a:t>Area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D2B45E27-9E4D-75CB-6F25-2BF2F0A9C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689431" y="1496494"/>
            <a:ext cx="3977722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9D1554-5632-8176-6030-41640F367A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782" y="1493369"/>
            <a:ext cx="3495637" cy="466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613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98CC41-F97E-FD8B-6EC2-BBCA55AFE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ank for your watching !!!</a:t>
            </a:r>
            <a:endParaRPr lang="vi-VN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558E114-78C2-96BD-38C3-FE03511EB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Q&amp;A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BFC422-0986-DFD2-0144-273A636EC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1999" y="1530000"/>
            <a:ext cx="6333460" cy="47500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F1E468B-1E1C-063B-056D-B2A21C7E1F02}"/>
              </a:ext>
            </a:extLst>
          </p:cNvPr>
          <p:cNvSpPr txBox="1"/>
          <p:nvPr/>
        </p:nvSpPr>
        <p:spPr>
          <a:xfrm>
            <a:off x="431999" y="230823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dirty="0"/>
              <a:t>Intern | Khiem Bui</a:t>
            </a:r>
          </a:p>
        </p:txBody>
      </p:sp>
    </p:spTree>
    <p:extLst>
      <p:ext uri="{BB962C8B-B14F-4D97-AF65-F5344CB8AC3E}">
        <p14:creationId xmlns:p14="http://schemas.microsoft.com/office/powerpoint/2010/main" val="227373677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/>
              <a:t>Presentation </a:t>
            </a:r>
            <a:r>
              <a:rPr lang="en-US" dirty="0"/>
              <a:t>Milestone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CA0E77D-A845-6F2A-82FD-6465A0A01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urney through various periods and cultures at the Ho Chi Minh City Museum of History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9E5FC6-AEAD-6951-9032-93DD6C019B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157" y="1648122"/>
            <a:ext cx="4138010" cy="4927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C33054-5A54-3161-F69F-8B16F3FA5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157" y="1648122"/>
            <a:ext cx="4138010" cy="4927119"/>
          </a:xfrm>
          <a:prstGeom prst="rect">
            <a:avLst/>
          </a:prstGeom>
        </p:spPr>
      </p:pic>
      <p:pic>
        <p:nvPicPr>
          <p:cNvPr id="9" name="Picture 2" descr="Bảo tàng Lịch sử TP.HCM">
            <a:extLst>
              <a:ext uri="{FF2B5EF4-FFF2-40B4-BE49-F238E27FC236}">
                <a16:creationId xmlns:a16="http://schemas.microsoft.com/office/drawing/2014/main" id="{81D8AA16-755C-0F2A-39B8-AEDAE2E27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833" y="1648121"/>
            <a:ext cx="4138010" cy="49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89756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History of Vietnam from the Prehistory to the Nguyen Dynasty</a:t>
            </a:r>
          </a:p>
          <a:p>
            <a:pPr lvl="1"/>
            <a:endParaRPr lang="en-GB" dirty="0"/>
          </a:p>
          <a:p>
            <a:r>
              <a:rPr lang="en-US" dirty="0"/>
              <a:t>Cultures in Southern Vietnam and some Asian countries</a:t>
            </a:r>
          </a:p>
          <a:p>
            <a:pPr lvl="1"/>
            <a:endParaRPr lang="en-GB" dirty="0"/>
          </a:p>
          <a:p>
            <a:r>
              <a:rPr lang="vi-VN" dirty="0" err="1"/>
              <a:t>Outdoor</a:t>
            </a:r>
            <a:r>
              <a:rPr lang="vi-VN" dirty="0"/>
              <a:t> </a:t>
            </a:r>
            <a:r>
              <a:rPr lang="vi-VN" dirty="0" err="1"/>
              <a:t>area</a:t>
            </a:r>
            <a:endParaRPr lang="vi-VN" dirty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9049126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9DEE44-63F3-DB55-C78F-0F616CDA8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2CCA45E-7033-C99B-2381-51E6A354D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vi-VN" dirty="0"/>
          </a:p>
        </p:txBody>
      </p:sp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70420E55-32E0-98FB-AFE4-E080C5BFB8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313121" y="1414873"/>
            <a:ext cx="7565758" cy="4853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1233257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3E5E86-9D17-3B97-7FAB-A0404667D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ED9398DA-C0E0-ED36-723D-C4FDA7AD3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97644" y="1510916"/>
            <a:ext cx="5114889" cy="383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574106BF-E414-BB83-496B-C8472BED1A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97644" y="1510916"/>
            <a:ext cx="5114889" cy="383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619B64-E21B-F0F3-4804-378314BD8A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9469" y="1510916"/>
            <a:ext cx="5114889" cy="3836167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BE717A47-3797-7AD2-96E3-89CE75F7D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Room</a:t>
            </a:r>
            <a:r>
              <a:rPr lang="vi-VN" dirty="0"/>
              <a:t> 1 : </a:t>
            </a:r>
            <a:r>
              <a:rPr lang="vi-VN" dirty="0" err="1"/>
              <a:t>Prehistoric</a:t>
            </a:r>
            <a:r>
              <a:rPr lang="vi-VN" dirty="0"/>
              <a:t> </a:t>
            </a:r>
            <a:r>
              <a:rPr lang="vi-VN" dirty="0" err="1"/>
              <a:t>period</a:t>
            </a:r>
            <a:endParaRPr lang="vi-VN" dirty="0"/>
          </a:p>
        </p:txBody>
      </p:sp>
    </p:spTree>
    <p:extLst>
      <p:ext uri="{BB962C8B-B14F-4D97-AF65-F5344CB8AC3E}">
        <p14:creationId xmlns:p14="http://schemas.microsoft.com/office/powerpoint/2010/main" val="84584800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FDE58-073E-562A-5C2E-00EB5A9F0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529E60F-1512-FE14-738E-6D39BE8FD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Room</a:t>
            </a:r>
            <a:r>
              <a:rPr lang="vi-VN" dirty="0"/>
              <a:t> 2 : The </a:t>
            </a:r>
            <a:r>
              <a:rPr lang="vi-VN" dirty="0" err="1"/>
              <a:t>first</a:t>
            </a:r>
            <a:r>
              <a:rPr lang="vi-VN" dirty="0"/>
              <a:t> </a:t>
            </a:r>
            <a:r>
              <a:rPr lang="vi-VN" dirty="0" err="1"/>
              <a:t>period</a:t>
            </a:r>
            <a:r>
              <a:rPr lang="vi-VN" dirty="0"/>
              <a:t> </a:t>
            </a:r>
            <a:r>
              <a:rPr lang="vi-VN" dirty="0" err="1"/>
              <a:t>of</a:t>
            </a:r>
            <a:r>
              <a:rPr lang="vi-VN" dirty="0"/>
              <a:t> </a:t>
            </a:r>
            <a:r>
              <a:rPr lang="vi-VN" dirty="0" err="1"/>
              <a:t>Founding</a:t>
            </a:r>
            <a:r>
              <a:rPr lang="vi-VN" dirty="0"/>
              <a:t> </a:t>
            </a:r>
            <a:r>
              <a:rPr lang="vi-VN" dirty="0" err="1"/>
              <a:t>and</a:t>
            </a:r>
            <a:r>
              <a:rPr lang="vi-VN" dirty="0"/>
              <a:t> </a:t>
            </a:r>
            <a:r>
              <a:rPr lang="vi-VN" dirty="0" err="1"/>
              <a:t>Struggling</a:t>
            </a:r>
            <a:r>
              <a:rPr lang="vi-VN" dirty="0"/>
              <a:t> </a:t>
            </a:r>
            <a:r>
              <a:rPr lang="vi-VN" dirty="0" err="1"/>
              <a:t>for</a:t>
            </a:r>
            <a:r>
              <a:rPr lang="vi-VN" dirty="0"/>
              <a:t> </a:t>
            </a:r>
            <a:r>
              <a:rPr lang="vi-VN" dirty="0" err="1"/>
              <a:t>Independence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B6CE3D-089D-094A-0856-17685CAC2C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577" y="1577900"/>
            <a:ext cx="3568995" cy="47586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869C78-1E34-EEF8-4A25-CE44BF212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577" y="1577900"/>
            <a:ext cx="3568995" cy="475866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23C5C5-ADFF-9E37-737C-D15AC3EC9F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7375" y="1577899"/>
            <a:ext cx="6344879" cy="475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7621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CAC835-D050-FA8B-F56F-65D3F26C8C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4B169AB-840A-C41D-B7F4-F880E4738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Room</a:t>
            </a:r>
            <a:r>
              <a:rPr lang="vi-VN" dirty="0"/>
              <a:t> 3 : </a:t>
            </a:r>
            <a:r>
              <a:rPr lang="vi-VN" dirty="0" err="1"/>
              <a:t>Ngo</a:t>
            </a:r>
            <a:r>
              <a:rPr lang="vi-VN" dirty="0"/>
              <a:t> – Dinh – </a:t>
            </a:r>
            <a:r>
              <a:rPr lang="vi-VN" dirty="0" err="1"/>
              <a:t>Early</a:t>
            </a:r>
            <a:r>
              <a:rPr lang="vi-VN" dirty="0"/>
              <a:t> Le </a:t>
            </a:r>
            <a:r>
              <a:rPr lang="vi-VN" dirty="0" err="1"/>
              <a:t>dynasties</a:t>
            </a:r>
            <a:r>
              <a:rPr lang="vi-VN" dirty="0"/>
              <a:t> (939-1009)</a:t>
            </a:r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60FD241D-CF36-0BAF-6739-D1ADEF609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40869" y="2006954"/>
            <a:ext cx="4849074" cy="3636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F3854050-9096-9FA9-6A6C-418E0D1AB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40869" y="2006954"/>
            <a:ext cx="4849074" cy="3636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EA47E3-D649-4889-7C48-2F673FEBD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056" y="2006954"/>
            <a:ext cx="4849075" cy="363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32075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66</TotalTime>
  <Words>179</Words>
  <Application>Microsoft Office PowerPoint</Application>
  <PresentationFormat>Widescreen</PresentationFormat>
  <Paragraphs>38</Paragraphs>
  <Slides>2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Milestone</vt:lpstr>
      <vt:lpstr>Journey through various periods and cultures at the Ho Chi Minh City Museum of History</vt:lpstr>
      <vt:lpstr>Agenda</vt:lpstr>
      <vt:lpstr>Agenda</vt:lpstr>
      <vt:lpstr>Room 1 : Prehistoric period</vt:lpstr>
      <vt:lpstr>Room 2 : The first period of Founding and Struggling for Independence</vt:lpstr>
      <vt:lpstr>Room 3 : Ngo – Dinh – Early Le dynasties (939-1009)</vt:lpstr>
      <vt:lpstr>Room 4 : Ly dynasty (1009 – 1225)</vt:lpstr>
      <vt:lpstr>Tran – Ho dynasties (1226-1407)</vt:lpstr>
      <vt:lpstr>Later Le – Mac – Later Le restoration dynasties (1428-1788)</vt:lpstr>
      <vt:lpstr>Tay Son dynasties ( 1771 – 1802 )</vt:lpstr>
      <vt:lpstr>Nguyen dynasty ( 1802 -1945 )</vt:lpstr>
      <vt:lpstr>Champa Culture</vt:lpstr>
      <vt:lpstr>Oc Eo Culture</vt:lpstr>
      <vt:lpstr>Cambodian stone carvings</vt:lpstr>
      <vt:lpstr>Duong Ha collection</vt:lpstr>
      <vt:lpstr>Asian ceramics</vt:lpstr>
      <vt:lpstr>The mummified body of Xom Cai</vt:lpstr>
      <vt:lpstr>Vuong Hong Sen collection</vt:lpstr>
      <vt:lpstr>Minority culture from Southern provinces</vt:lpstr>
      <vt:lpstr>Buddhist culture from Southern provinces</vt:lpstr>
      <vt:lpstr>Outdoor Area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7</cp:revision>
  <cp:lastPrinted>2025-08-25T07:54:47Z</cp:lastPrinted>
  <dcterms:created xsi:type="dcterms:W3CDTF">2025-07-10T03:51:23Z</dcterms:created>
  <dcterms:modified xsi:type="dcterms:W3CDTF">2025-08-25T08:05:36Z</dcterms:modified>
</cp:coreProperties>
</file>